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  <p:sldMasterId id="2147483687" r:id="rId2"/>
  </p:sldMasterIdLst>
  <p:notesMasterIdLst>
    <p:notesMasterId r:id="rId7"/>
  </p:notesMasterIdLst>
  <p:sldIdLst>
    <p:sldId id="494" r:id="rId3"/>
    <p:sldId id="858" r:id="rId4"/>
    <p:sldId id="886" r:id="rId5"/>
    <p:sldId id="468" r:id="rId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66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0D1B1C"/>
    <a:srgbClr val="F9F9FB"/>
    <a:srgbClr val="091717"/>
    <a:srgbClr val="EFF5FB"/>
    <a:srgbClr val="EAEAEA"/>
    <a:srgbClr val="EAE9E9"/>
    <a:srgbClr val="EBE9E9"/>
    <a:srgbClr val="E8E8E8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837" autoAdjust="0"/>
    <p:restoredTop sz="94660"/>
  </p:normalViewPr>
  <p:slideViewPr>
    <p:cSldViewPr snapToGrid="0" showGuides="1">
      <p:cViewPr varScale="1">
        <p:scale>
          <a:sx n="75" d="100"/>
          <a:sy n="75" d="100"/>
        </p:scale>
        <p:origin x="176" y="1296"/>
      </p:cViewPr>
      <p:guideLst>
        <p:guide orient="horz" pos="2137"/>
        <p:guide pos="66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641EA5-8D81-4E61-B37C-E5F6FBE76A41}" type="datetimeFigureOut">
              <a:rPr lang="nl-NL" smtClean="0"/>
              <a:t>19-04-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BDAF0-FF71-49BA-A02E-FCC33DA3013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334822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/>
        </p:spPr>
      </p:sp>
      <p:sp>
        <p:nvSpPr>
          <p:cNvPr id="31747" name="Tijdelijke aanduiding voor notities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nl-NL" altLang="nl-NL"/>
          </a:p>
        </p:txBody>
      </p:sp>
      <p:sp>
        <p:nvSpPr>
          <p:cNvPr id="31748" name="Tijdelijke aanduiding voor dianumm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88BA80-940B-460F-98E0-742B2D41F4BD}" type="slidenum">
              <a:rPr kumimoji="0" lang="nl-NL" alt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pitchFamily="18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l-NL" alt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34409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2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2.pn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7.png"/><Relationship Id="rId7" Type="http://schemas.openxmlformats.org/officeDocument/2006/relationships/image" Target="../media/image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jp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jpeg"/><Relationship Id="rId4" Type="http://schemas.openxmlformats.org/officeDocument/2006/relationships/image" Target="../media/image12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94E86-B79C-4D75-B9D3-F40725AAE3F1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588602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3781E-BA7D-4E46-96F0-F56A3C6560F6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722974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A12FE-7155-4583-81E2-79504A806A11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3329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3"/>
            <a:ext cx="9907272" cy="4003197"/>
          </a:xfrm>
        </p:spPr>
        <p:txBody>
          <a:bodyPr>
            <a:normAutofit/>
          </a:bodyPr>
          <a:lstStyle>
            <a:lvl1pPr marL="612000" indent="-612000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0" y="650009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73A53F70-6EDA-470F-86EB-7A1A4FA43DA0}" type="datetime1">
              <a:rPr lang="nl-NL" smtClean="0">
                <a:solidFill>
                  <a:prstClr val="white"/>
                </a:solidFill>
              </a:rPr>
              <a:t>19-04-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4" y="6500092"/>
            <a:ext cx="4716000" cy="221383"/>
          </a:xfrm>
        </p:spPr>
        <p:txBody>
          <a:bodyPr/>
          <a:lstStyle>
            <a:lvl1pPr marL="0" algn="ctr" defTabSz="914400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24486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6171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agenda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tx2"/>
              </a:buClr>
              <a:buFont typeface="+mj-lt"/>
              <a:buAutoNum type="arabicPeriod"/>
              <a:defRPr lang="en-US" sz="3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326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prstClr val="white"/>
                </a:solidFill>
              </a:rPr>
              <a:pPr/>
              <a:t>19-04-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913873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 hidden="1"/>
          <p:cNvSpPr/>
          <p:nvPr userDrawn="1"/>
        </p:nvSpPr>
        <p:spPr>
          <a:xfrm>
            <a:off x="191344" y="0"/>
            <a:ext cx="120006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03149B-AF7A-4C31-A1E6-E467BE34ECA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-2008948" y="2492905"/>
            <a:ext cx="1871663" cy="2388601"/>
            <a:chOff x="-2008947" y="2420888"/>
            <a:chExt cx="1871662" cy="2388601"/>
          </a:xfrm>
        </p:grpSpPr>
        <p:grpSp>
          <p:nvGrpSpPr>
            <p:cNvPr id="12" name="Gruppe 1"/>
            <p:cNvGrpSpPr/>
            <p:nvPr userDrawn="1"/>
          </p:nvGrpSpPr>
          <p:grpSpPr>
            <a:xfrm>
              <a:off x="-2008947" y="2420888"/>
              <a:ext cx="1871662" cy="2388601"/>
              <a:chOff x="9231313" y="2327275"/>
              <a:chExt cx="1871662" cy="2388601"/>
            </a:xfrm>
          </p:grpSpPr>
          <p:sp>
            <p:nvSpPr>
              <p:cNvPr id="13" name="TextBox 12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2369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</p:txBody>
          </p:sp>
          <p:grpSp>
            <p:nvGrpSpPr>
              <p:cNvPr id="15" name="Gruppe 1"/>
              <p:cNvGrpSpPr>
                <a:grpSpLocks/>
              </p:cNvGrpSpPr>
              <p:nvPr userDrawn="1"/>
            </p:nvGrpSpPr>
            <p:grpSpPr bwMode="auto">
              <a:xfrm>
                <a:off x="10746863" y="4366081"/>
                <a:ext cx="331789" cy="349795"/>
                <a:chOff x="9828712" y="5849458"/>
                <a:chExt cx="331633" cy="350460"/>
              </a:xfrm>
            </p:grpSpPr>
            <p:pic>
              <p:nvPicPr>
                <p:cNvPr id="17" name="Picture 16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842242" y="5856367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8" name="Rounded Rectangle 17"/>
                <p:cNvSpPr/>
                <p:nvPr userDrawn="1"/>
              </p:nvSpPr>
              <p:spPr>
                <a:xfrm>
                  <a:off x="9828712" y="5849458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554236" y="3367625"/>
              <a:ext cx="399068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52430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8" y="1504951"/>
            <a:ext cx="1056639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10566400" cy="504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9921875" cy="30718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A895DE-A2D9-46A4-B2C3-419086917E39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0" name="Preview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11" name="Group 10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2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1" name="Billed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196753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7799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4576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F30495-015D-4DFE-AFC6-CC066761195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6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7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6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7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8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9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8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43005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7437" y="971999"/>
            <a:ext cx="6029363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FontTx/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71F40-BF41-4E30-BF4C-DBCF44B4E092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2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3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4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5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1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312102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94FC5-2727-4393-AC2E-072913F51141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928984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8112224" y="2934003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8112224" y="4892400"/>
            <a:ext cx="4086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99221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6800" y="971999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166800" y="2934003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6166800" y="4892400"/>
            <a:ext cx="6030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49" y="1504951"/>
            <a:ext cx="5079600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49" y="1989212"/>
            <a:ext cx="507960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5" y="3284539"/>
            <a:ext cx="4442400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208922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51" y="972008"/>
            <a:ext cx="5739524" cy="5886001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298577" y="1504954"/>
            <a:ext cx="4443275" cy="1202962"/>
          </a:xfrm>
          <a:blipFill>
            <a:blip r:embed="rId3"/>
            <a:stretch>
              <a:fillRect/>
            </a:stretch>
          </a:blipFill>
        </p:spPr>
        <p:txBody>
          <a:bodyPr bIns="215968">
            <a:sp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6299056" tIns="0" rIns="0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</a:t>
            </a:r>
            <a:br>
              <a:rPr lang="en-GB" noProof="0" dirty="0"/>
            </a:br>
            <a:r>
              <a:rPr lang="en-GB" noProof="0" dirty="0"/>
              <a:t>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D6EE5-91D8-4496-8B28-AFF451BBF785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5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7" name="Group 16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3" name="Picture 22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4" name="Rounded Rectangle 23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9" name="Group 18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ectangle 20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2" name="Rounded Rectangle 21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20000" y="1"/>
            <a:ext cx="2287143" cy="1285875"/>
          </a:xfrm>
          <a:prstGeom prst="rect">
            <a:avLst/>
          </a:prstGeom>
        </p:spPr>
      </p:pic>
      <p:grpSp>
        <p:nvGrpSpPr>
          <p:cNvPr id="27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8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0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1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2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3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9" name="Picture 30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71024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White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1" y="2404088"/>
            <a:ext cx="11144851" cy="3041136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2772656"/>
            <a:ext cx="2705645" cy="2304000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979333" y="2772655"/>
            <a:ext cx="6293131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3688389" y="2775740"/>
            <a:ext cx="14400" cy="23040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611907" rIns="0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80DB5D-ED7A-4FCA-9F48-607B9766E806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143" cy="1285875"/>
          </a:xfrm>
          <a:prstGeom prst="rect">
            <a:avLst/>
          </a:prstGeom>
        </p:spPr>
      </p:pic>
      <p:grpSp>
        <p:nvGrpSpPr>
          <p:cNvPr id="1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23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24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25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6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2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92937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3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49" y="3794561"/>
            <a:ext cx="11144851" cy="3070800"/>
          </a:xfrm>
          <a:blipFill>
            <a:blip r:embed="rId2"/>
            <a:stretch>
              <a:fillRect/>
            </a:stretch>
          </a:blipFill>
        </p:spPr>
        <p:txBody>
          <a:bodyPr lIns="0"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1298576" y="4269819"/>
            <a:ext cx="2705645" cy="2090639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622809" y="4269809"/>
            <a:ext cx="6271279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4326943" y="4269811"/>
            <a:ext cx="14400" cy="20916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0" rIns="0" bIns="683902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2C737-C459-4647-8958-BB59048C64D8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413" cy="1286027"/>
          </a:xfrm>
          <a:prstGeom prst="rect">
            <a:avLst/>
          </a:prstGeom>
        </p:spPr>
      </p:pic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70089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67439" y="972009"/>
            <a:ext cx="5053012" cy="5384351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A51CE-F505-41EA-8663-BD227B542C44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2" name="Group 11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3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2317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9" y="1504951"/>
            <a:ext cx="10566399" cy="576000"/>
          </a:xfrm>
        </p:spPr>
        <p:txBody>
          <a:bodyPr>
            <a:norm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54051" y="2880253"/>
            <a:ext cx="10566400" cy="3476099"/>
          </a:xfrm>
        </p:spPr>
        <p:txBody>
          <a:bodyPr>
            <a:normAutofit/>
          </a:bodyPr>
          <a:lstStyle>
            <a:lvl1pPr marL="287947" indent="-287947">
              <a:buClr>
                <a:schemeClr val="accent1"/>
              </a:buClr>
              <a:buFont typeface="Arial" panose="020B0604020202020204" pitchFamily="34" charset="0"/>
              <a:buChar char="•"/>
              <a:defRPr baseline="0"/>
            </a:lvl1pPr>
            <a:lvl2pPr marL="575902" indent="-287947">
              <a:buFont typeface="Arial" panose="020B0604020202020204" pitchFamily="34" charset="0"/>
              <a:buChar char="–"/>
              <a:defRPr/>
            </a:lvl2pPr>
            <a:lvl3pPr marL="611891" indent="-287947">
              <a:spcAft>
                <a:spcPts val="600"/>
              </a:spcAft>
              <a:defRPr lang="en-GB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3850" indent="-287947">
              <a:defRPr/>
            </a:lvl4pPr>
            <a:lvl5pPr marL="1079813" indent="-287947">
              <a:defRPr sz="1600"/>
            </a:lvl5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DCD442-54C2-44B3-900E-8C29E40D0605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0" name="Group 9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1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2" name="Group 11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ounded Rectangle 17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3" name="Group 12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4" name="Picture 13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5" name="Rectangle 14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6" name="Rounded Rectangle 15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847402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2F10B9-E8C5-4220-9572-2C6F9C10A021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7714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26CE3C-B761-42CF-86FA-495C803B9E35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64756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9019" y="1676404"/>
            <a:ext cx="11199280" cy="45497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71604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4C5B3-48EC-44AD-A311-D69CCB98B979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49743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1055439" y="6421441"/>
            <a:ext cx="2375268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sv-SE" dirty="0">
                <a:solidFill>
                  <a:srgbClr val="C7C2BA"/>
                </a:solidFill>
              </a:rPr>
              <a:t>24 June 2014</a:t>
            </a:r>
            <a:endParaRPr dirty="0">
              <a:solidFill>
                <a:srgbClr val="C7C2BA"/>
              </a:solidFill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>
          <a:xfrm>
            <a:off x="3430709" y="6421441"/>
            <a:ext cx="3992443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dirty="0">
              <a:solidFill>
                <a:srgbClr val="C7C2BA"/>
              </a:solidFill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>
          <a:xfrm>
            <a:off x="566457" y="6421441"/>
            <a:ext cx="541867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0C2C257-330F-409C-BC18-18554D16EFA6}" type="slidenum">
              <a:rPr lang="en-GB">
                <a:solidFill>
                  <a:srgbClr val="C7C2BA"/>
                </a:solidFill>
              </a:rPr>
              <a:pPr/>
              <a:t>‹nr.›</a:t>
            </a:fld>
            <a:endParaRPr lang="en-GB" dirty="0">
              <a:solidFill>
                <a:srgbClr val="C7C2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5602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92868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CBBAC-3E82-4329-AD57-5F5421B1D542}" type="datetimeFigureOut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19-04-19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666E3-8817-4F6D-84CF-FEFBEEF18CEC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889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6AD7E-E0E1-4053-ADD2-94FC7562D71A}" type="datetime1">
              <a:rPr lang="nl-NL" smtClean="0"/>
              <a:t>19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960272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A8A03-540A-4982-8BAD-819FE85262BB}" type="datetime1">
              <a:rPr lang="nl-NL" smtClean="0"/>
              <a:t>19-04-19</a:t>
            </a:fld>
            <a:endParaRPr lang="nl-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069898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2DC6BC-43CE-42A3-85C5-771B7F4CD4E7}" type="datetime1">
              <a:rPr lang="nl-NL" smtClean="0"/>
              <a:t>19-04-19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407325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73EF3A-00A6-40C1-9701-754F18A6858C}" type="datetime1">
              <a:rPr lang="nl-NL" smtClean="0"/>
              <a:t>19-04-19</a:t>
            </a:fld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594960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01EB89-2A3A-40C3-9C36-F4881D3E47DB}" type="datetime1">
              <a:rPr lang="nl-NL" smtClean="0"/>
              <a:t>19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987760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CEB182-B990-4126-A3D4-1F15EFF531BB}" type="datetime1">
              <a:rPr lang="nl-NL" smtClean="0"/>
              <a:t>19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54649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15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041EA1-C323-4154-8D89-7EBAC74374F2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18615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708" r:id="rId1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ray line"/>
          <p:cNvCxnSpPr/>
          <p:nvPr/>
        </p:nvCxnSpPr>
        <p:spPr>
          <a:xfrm>
            <a:off x="0" y="966509"/>
            <a:ext cx="12192000" cy="0"/>
          </a:xfrm>
          <a:prstGeom prst="line">
            <a:avLst/>
          </a:prstGeom>
          <a:ln w="12700">
            <a:solidFill>
              <a:srgbClr val="BCBE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4060" y="439383"/>
            <a:ext cx="9439433" cy="216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GB" dirty="0"/>
              <a:t>Click to add section tit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09353" y="3284539"/>
            <a:ext cx="9911099" cy="30548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add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68451" y="6500102"/>
            <a:ext cx="2052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E671F69-0F33-4019-8C50-CCF23F7BDFC9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42313" y="6500102"/>
            <a:ext cx="4716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lang="en-GB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5184" y="6500092"/>
            <a:ext cx="504056" cy="2213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7" name="Red box"/>
          <p:cNvSpPr/>
          <p:nvPr/>
        </p:nvSpPr>
        <p:spPr>
          <a:xfrm>
            <a:off x="0" y="0"/>
            <a:ext cx="68400" cy="6858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pic>
        <p:nvPicPr>
          <p:cNvPr id="13" name="TOYOTA Logo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7733" y="207126"/>
            <a:ext cx="1358851" cy="565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533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</p:sldLayoutIdLst>
  <p:hf hdr="0" ftr="0" dt="0"/>
  <p:txStyles>
    <p:titleStyle>
      <a:lvl1pPr algn="l" defTabSz="914241" rtl="0" eaLnBrk="1" latinLnBrk="0" hangingPunct="1">
        <a:lnSpc>
          <a:spcPct val="90000"/>
        </a:lnSpc>
        <a:spcBef>
          <a:spcPct val="0"/>
        </a:spcBef>
        <a:buNone/>
        <a:defRPr sz="1500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7947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–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2" panose="05020102010507070707" pitchFamily="18" charset="2"/>
        <a:buChar char=""/>
        <a:defRPr lang="en-GB" sz="2000" b="0" kern="1200" noProof="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8638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4pPr>
      <a:lvl5pPr marL="1151802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5pPr>
      <a:lvl6pPr marL="143974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6pPr>
      <a:lvl7pPr marL="1727695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7pPr>
      <a:lvl8pPr marL="20156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8pPr>
      <a:lvl9pPr marL="230359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GB" sz="1900" kern="1200" dirty="0" smtClean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1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8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06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2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4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7068">
          <p15:clr>
            <a:srgbClr val="F26B43"/>
          </p15:clr>
        </p15:guide>
        <p15:guide id="4" pos="818">
          <p15:clr>
            <a:srgbClr val="F26B43"/>
          </p15:clr>
        </p15:guide>
        <p15:guide id="5" pos="412">
          <p15:clr>
            <a:srgbClr val="F26B43"/>
          </p15:clr>
        </p15:guide>
        <p15:guide id="7" orient="horz" pos="275">
          <p15:clr>
            <a:srgbClr val="F26B43"/>
          </p15:clr>
        </p15:guide>
        <p15:guide id="8" orient="horz" pos="4004">
          <p15:clr>
            <a:srgbClr val="F26B43"/>
          </p15:clr>
        </p15:guide>
        <p15:guide id="9" orient="horz" pos="9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jpeg"/><Relationship Id="rId18" Type="http://schemas.openxmlformats.org/officeDocument/2006/relationships/image" Target="../media/image42.jpe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12" Type="http://schemas.openxmlformats.org/officeDocument/2006/relationships/image" Target="../media/image36.jpeg"/><Relationship Id="rId17" Type="http://schemas.openxmlformats.org/officeDocument/2006/relationships/image" Target="../media/image41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40.png"/><Relationship Id="rId20" Type="http://schemas.openxmlformats.org/officeDocument/2006/relationships/image" Target="../media/image4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5" Type="http://schemas.openxmlformats.org/officeDocument/2006/relationships/image" Target="../media/image39.jpeg"/><Relationship Id="rId10" Type="http://schemas.openxmlformats.org/officeDocument/2006/relationships/image" Target="../media/image34.png"/><Relationship Id="rId19" Type="http://schemas.openxmlformats.org/officeDocument/2006/relationships/image" Target="../media/image43.jpeg"/><Relationship Id="rId4" Type="http://schemas.openxmlformats.org/officeDocument/2006/relationships/image" Target="../media/image28.jpeg"/><Relationship Id="rId9" Type="http://schemas.openxmlformats.org/officeDocument/2006/relationships/image" Target="../media/image33.png"/><Relationship Id="rId14" Type="http://schemas.openxmlformats.org/officeDocument/2006/relationships/image" Target="../media/image3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472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9A121568-DF1F-4045-B01E-AF3ADD2DEA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85994"/>
            <a:ext cx="12489084" cy="4003197"/>
          </a:xfrm>
        </p:spPr>
        <p:txBody>
          <a:bodyPr/>
          <a:lstStyle/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r>
              <a:rPr lang="nl-NL" b="1" dirty="0"/>
              <a:t>Energietransitie.</a:t>
            </a:r>
          </a:p>
        </p:txBody>
      </p:sp>
    </p:spTree>
    <p:extLst>
      <p:ext uri="{BB962C8B-B14F-4D97-AF65-F5344CB8AC3E}">
        <p14:creationId xmlns:p14="http://schemas.microsoft.com/office/powerpoint/2010/main" val="12501915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A91140B8-7C97-4E4C-93FE-3BD34810E6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6C9CE348-CED0-4533-AEC4-3CB539673E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33669" y="1803700"/>
            <a:ext cx="1714500" cy="2657475"/>
          </a:xfrm>
          <a:prstGeom prst="rect">
            <a:avLst/>
          </a:prstGeom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D0A1098F-2CFA-4CBF-8082-10B5F7A3E4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8994" y="1803701"/>
            <a:ext cx="2669338" cy="2657474"/>
          </a:xfrm>
          <a:prstGeom prst="rect">
            <a:avLst/>
          </a:prstGeom>
        </p:spPr>
      </p:pic>
      <p:pic>
        <p:nvPicPr>
          <p:cNvPr id="2" name="Afbeelding 1">
            <a:extLst>
              <a:ext uri="{FF2B5EF4-FFF2-40B4-BE49-F238E27FC236}">
                <a16:creationId xmlns:a16="http://schemas.microsoft.com/office/drawing/2014/main" id="{140FBB31-939D-F747-AB68-E0ACBD6820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072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kstvak 5">
            <a:extLst>
              <a:ext uri="{FF2B5EF4-FFF2-40B4-BE49-F238E27FC236}">
                <a16:creationId xmlns:a16="http://schemas.microsoft.com/office/drawing/2014/main" id="{5BE62956-3FD3-48D0-B268-30A1A90162A7}"/>
              </a:ext>
            </a:extLst>
          </p:cNvPr>
          <p:cNvSpPr txBox="1"/>
          <p:nvPr/>
        </p:nvSpPr>
        <p:spPr>
          <a:xfrm>
            <a:off x="2156790" y="397564"/>
            <a:ext cx="78916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32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ergietransitie</a:t>
            </a:r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6940C3DA-EF7A-4B7C-B1FC-ADC33A871764}"/>
              </a:ext>
            </a:extLst>
          </p:cNvPr>
          <p:cNvCxnSpPr/>
          <p:nvPr/>
        </p:nvCxnSpPr>
        <p:spPr>
          <a:xfrm>
            <a:off x="773595" y="1212571"/>
            <a:ext cx="10644809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kstvak 3">
            <a:extLst>
              <a:ext uri="{FF2B5EF4-FFF2-40B4-BE49-F238E27FC236}">
                <a16:creationId xmlns:a16="http://schemas.microsoft.com/office/drawing/2014/main" id="{4F1636ED-59E7-4548-BCC8-0EB72813EDA4}"/>
              </a:ext>
            </a:extLst>
          </p:cNvPr>
          <p:cNvSpPr txBox="1"/>
          <p:nvPr/>
        </p:nvSpPr>
        <p:spPr>
          <a:xfrm>
            <a:off x="963827" y="1655807"/>
            <a:ext cx="10293179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elen Energieakkoord Mobiliteit &amp; Transp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Verhoging van de energie-efficiënti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fficiëntieverbetering in gebruik van mobiliteit en transpor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en groter aandeel duurzame modaliteit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 overgang naar nieuwe energiedrage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Verkenning van mogelijke toepassing van ‘betalen voor gebruik’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ffectief bron- en ruimtelijk belei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ffectief mobiliteitsmanagement en aansluiting bij de behoeften en beleving van gebruikers.</a:t>
            </a: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F108E2C2-8FCA-4A5D-AA35-21ECEE5F90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76832" y="4305441"/>
            <a:ext cx="5104642" cy="2023178"/>
          </a:xfrm>
          <a:prstGeom prst="rect">
            <a:avLst/>
          </a:prstGeom>
        </p:spPr>
      </p:pic>
      <p:sp>
        <p:nvSpPr>
          <p:cNvPr id="7" name="Tekstvak 6">
            <a:extLst>
              <a:ext uri="{FF2B5EF4-FFF2-40B4-BE49-F238E27FC236}">
                <a16:creationId xmlns:a16="http://schemas.microsoft.com/office/drawing/2014/main" id="{8ADB218B-5E0E-4C71-AA3D-F2FA4941A807}"/>
              </a:ext>
            </a:extLst>
          </p:cNvPr>
          <p:cNvSpPr txBox="1"/>
          <p:nvPr/>
        </p:nvSpPr>
        <p:spPr>
          <a:xfrm>
            <a:off x="7039773" y="4492774"/>
            <a:ext cx="742684" cy="156966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nl-NL" sz="9600" dirty="0">
                <a:solidFill>
                  <a:srgbClr val="EAEAEA"/>
                </a:solidFill>
              </a:rPr>
              <a:t>?</a:t>
            </a:r>
          </a:p>
        </p:txBody>
      </p:sp>
      <p:sp>
        <p:nvSpPr>
          <p:cNvPr id="8" name="Ovaal 7">
            <a:extLst>
              <a:ext uri="{FF2B5EF4-FFF2-40B4-BE49-F238E27FC236}">
                <a16:creationId xmlns:a16="http://schemas.microsoft.com/office/drawing/2014/main" id="{477E4930-97CD-4A80-B4E6-539565F7EE29}"/>
              </a:ext>
            </a:extLst>
          </p:cNvPr>
          <p:cNvSpPr/>
          <p:nvPr/>
        </p:nvSpPr>
        <p:spPr>
          <a:xfrm>
            <a:off x="6737032" y="4653587"/>
            <a:ext cx="1285104" cy="1223319"/>
          </a:xfrm>
          <a:prstGeom prst="ellipse">
            <a:avLst/>
          </a:prstGeom>
          <a:noFill/>
          <a:ln w="38100">
            <a:solidFill>
              <a:srgbClr val="EBE9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286414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0" y="1053962"/>
            <a:ext cx="12192000" cy="192021"/>
            <a:chOff x="0" y="1059582"/>
            <a:chExt cx="9144000" cy="144016"/>
          </a:xfrm>
        </p:grpSpPr>
        <p:cxnSp>
          <p:nvCxnSpPr>
            <p:cNvPr id="10" name="Straight Connector 9"/>
            <p:cNvCxnSpPr/>
            <p:nvPr/>
          </p:nvCxnSpPr>
          <p:spPr>
            <a:xfrm>
              <a:off x="0" y="1059582"/>
              <a:ext cx="9144000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0" y="1131590"/>
              <a:ext cx="9144000" cy="0"/>
            </a:xfrm>
            <a:prstGeom prst="line">
              <a:avLst/>
            </a:prstGeom>
            <a:ln>
              <a:solidFill>
                <a:srgbClr val="FEBD1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0" y="1203598"/>
              <a:ext cx="9144000" cy="0"/>
            </a:xfrm>
            <a:prstGeom prst="line">
              <a:avLst/>
            </a:prstGeom>
            <a:ln>
              <a:solidFill>
                <a:srgbClr val="660066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5" name="Picture 2">
            <a:extLst>
              <a:ext uri="{FF2B5EF4-FFF2-40B4-BE49-F238E27FC236}">
                <a16:creationId xmlns:a16="http://schemas.microsoft.com/office/drawing/2014/main" id="{52293A3C-C54F-4CA6-9109-1D1F215A35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948947"/>
            <a:ext cx="860255" cy="153617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050" name="Picture 2" descr="Image result for energie akkoord">
            <a:extLst>
              <a:ext uri="{FF2B5EF4-FFF2-40B4-BE49-F238E27FC236}">
                <a16:creationId xmlns:a16="http://schemas.microsoft.com/office/drawing/2014/main" id="{307F3CE1-33D5-4A69-B222-835D5E0986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9456" y="3140969"/>
            <a:ext cx="864096" cy="133317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1669A3D3-4DAA-4401-BE58-149D5CFE1E5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3339" y="1892830"/>
            <a:ext cx="1536171" cy="879289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269C94D-9F51-491B-A6B0-D6B5978A11F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19669" y="4869160"/>
            <a:ext cx="1728192" cy="1728192"/>
          </a:xfrm>
          <a:prstGeom prst="rect">
            <a:avLst/>
          </a:prstGeom>
        </p:spPr>
      </p:pic>
      <p:pic>
        <p:nvPicPr>
          <p:cNvPr id="2" name="Afbeelding 1">
            <a:extLst>
              <a:ext uri="{FF2B5EF4-FFF2-40B4-BE49-F238E27FC236}">
                <a16:creationId xmlns:a16="http://schemas.microsoft.com/office/drawing/2014/main" id="{C6AD6EFD-BB40-4BD8-B438-D011AEEE9A0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23659" y="3140969"/>
            <a:ext cx="3515883" cy="1455185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E26E70AA-CBB9-40A2-862E-46170387746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47596" y="2276873"/>
            <a:ext cx="3730097" cy="1725943"/>
          </a:xfrm>
          <a:prstGeom prst="rect">
            <a:avLst/>
          </a:prstGeom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84700AEE-30DE-442E-BD95-D7107398153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74858" y="1641262"/>
            <a:ext cx="3790641" cy="1667253"/>
          </a:xfrm>
          <a:prstGeom prst="rect">
            <a:avLst/>
          </a:prstGeom>
        </p:spPr>
      </p:pic>
      <p:pic>
        <p:nvPicPr>
          <p:cNvPr id="7" name="Afbeelding 6">
            <a:extLst>
              <a:ext uri="{FF2B5EF4-FFF2-40B4-BE49-F238E27FC236}">
                <a16:creationId xmlns:a16="http://schemas.microsoft.com/office/drawing/2014/main" id="{DB64861B-798E-46C9-B911-2E5BCB09453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3338" y="4869160"/>
            <a:ext cx="3019252" cy="1728192"/>
          </a:xfrm>
          <a:prstGeom prst="rect">
            <a:avLst/>
          </a:prstGeom>
        </p:spPr>
      </p:pic>
      <p:sp>
        <p:nvSpPr>
          <p:cNvPr id="18" name="Tekstvak 17">
            <a:extLst>
              <a:ext uri="{FF2B5EF4-FFF2-40B4-BE49-F238E27FC236}">
                <a16:creationId xmlns:a16="http://schemas.microsoft.com/office/drawing/2014/main" id="{2CEAAD88-687E-42D2-A27E-5C53FE0CCB42}"/>
              </a:ext>
            </a:extLst>
          </p:cNvPr>
          <p:cNvSpPr txBox="1"/>
          <p:nvPr/>
        </p:nvSpPr>
        <p:spPr>
          <a:xfrm>
            <a:off x="143339" y="6117299"/>
            <a:ext cx="2976331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Grondstoffen zijn eindig</a:t>
            </a:r>
          </a:p>
        </p:txBody>
      </p:sp>
      <p:sp>
        <p:nvSpPr>
          <p:cNvPr id="20" name="Tekstvak 19">
            <a:extLst>
              <a:ext uri="{FF2B5EF4-FFF2-40B4-BE49-F238E27FC236}">
                <a16:creationId xmlns:a16="http://schemas.microsoft.com/office/drawing/2014/main" id="{C7275936-575C-45B1-80ED-2120605AD403}"/>
              </a:ext>
            </a:extLst>
          </p:cNvPr>
          <p:cNvSpPr txBox="1"/>
          <p:nvPr/>
        </p:nvSpPr>
        <p:spPr>
          <a:xfrm>
            <a:off x="6736764" y="1902507"/>
            <a:ext cx="2303169" cy="107702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133" b="1" i="0" u="none" strike="noStrike" kern="1200" cap="none" spc="0" normalizeH="0" baseline="0" noProof="0" dirty="0">
                <a:ln>
                  <a:noFill/>
                </a:ln>
                <a:solidFill>
                  <a:srgbClr val="008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De prijs van stroom daalt razendsnel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407702" y="285877"/>
            <a:ext cx="5088565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Arial Black"/>
              </a:rPr>
              <a:t>De </a:t>
            </a:r>
            <a:r>
              <a:rPr kumimoji="0" lang="en-US" sz="2667" b="1" i="0" u="none" strike="noStrike" kern="1200" cap="none" spc="0" normalizeH="0" baseline="0" noProof="0" dirty="0" err="1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Arial Black"/>
              </a:rPr>
              <a:t>toekomst</a:t>
            </a: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Arial Black"/>
              </a:rPr>
              <a:t> is </a:t>
            </a:r>
            <a:r>
              <a:rPr kumimoji="0" lang="en-US" sz="2667" b="1" i="0" u="none" strike="noStrike" kern="1200" cap="none" spc="0" normalizeH="0" baseline="0" noProof="0" dirty="0" err="1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Arial Black"/>
              </a:rPr>
              <a:t>elektrisch</a:t>
            </a:r>
            <a:endParaRPr kumimoji="0" lang="en-US" sz="2667" b="1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50000"/>
                </a:srgbClr>
              </a:solidFill>
              <a:effectLst/>
              <a:uLnTx/>
              <a:uFillTx/>
              <a:latin typeface="Arial Black"/>
              <a:ea typeface="+mn-ea"/>
              <a:cs typeface="Arial Black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039883" y="4293096"/>
            <a:ext cx="1344149" cy="2396256"/>
          </a:xfrm>
          <a:prstGeom prst="rect">
            <a:avLst/>
          </a:prstGeom>
        </p:spPr>
      </p:pic>
      <p:pic>
        <p:nvPicPr>
          <p:cNvPr id="28" name="Picture 10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8288" y="5336825"/>
            <a:ext cx="1171576" cy="976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8861" y="3700661"/>
            <a:ext cx="1345661" cy="10561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14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8075" y="5336824"/>
            <a:ext cx="1309688" cy="871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4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0470" y="5432835"/>
            <a:ext cx="1437279" cy="768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Tekstvak 17">
            <a:extLst>
              <a:ext uri="{FF2B5EF4-FFF2-40B4-BE49-F238E27FC236}">
                <a16:creationId xmlns:a16="http://schemas.microsoft.com/office/drawing/2014/main" id="{2CEAAD88-687E-42D2-A27E-5C53FE0CCB42}"/>
              </a:ext>
            </a:extLst>
          </p:cNvPr>
          <p:cNvSpPr txBox="1"/>
          <p:nvPr/>
        </p:nvSpPr>
        <p:spPr>
          <a:xfrm>
            <a:off x="7728181" y="6296931"/>
            <a:ext cx="2976331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133" b="1" i="0" u="none" strike="noStrike" kern="1200" cap="none" spc="0" normalizeH="0" baseline="0" noProof="0" dirty="0">
                <a:ln>
                  <a:noFill/>
                </a:ln>
                <a:solidFill>
                  <a:srgbClr val="008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Energieopslag</a:t>
            </a:r>
          </a:p>
        </p:txBody>
      </p:sp>
      <p:sp>
        <p:nvSpPr>
          <p:cNvPr id="33" name="Tekstvak 17">
            <a:extLst>
              <a:ext uri="{FF2B5EF4-FFF2-40B4-BE49-F238E27FC236}">
                <a16:creationId xmlns:a16="http://schemas.microsoft.com/office/drawing/2014/main" id="{2CEAAD88-687E-42D2-A27E-5C53FE0CCB42}"/>
              </a:ext>
            </a:extLst>
          </p:cNvPr>
          <p:cNvSpPr txBox="1"/>
          <p:nvPr/>
        </p:nvSpPr>
        <p:spPr>
          <a:xfrm>
            <a:off x="7632171" y="4760760"/>
            <a:ext cx="2976331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133" b="1" i="0" u="none" strike="noStrike" kern="1200" cap="none" spc="0" normalizeH="0" baseline="0" noProof="0" dirty="0">
                <a:ln>
                  <a:noFill/>
                </a:ln>
                <a:solidFill>
                  <a:srgbClr val="008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Schone energie</a:t>
            </a:r>
          </a:p>
        </p:txBody>
      </p:sp>
      <p:pic>
        <p:nvPicPr>
          <p:cNvPr id="19" name="Afbeelding 18">
            <a:extLst>
              <a:ext uri="{FF2B5EF4-FFF2-40B4-BE49-F238E27FC236}">
                <a16:creationId xmlns:a16="http://schemas.microsoft.com/office/drawing/2014/main" id="{498B03A0-5877-4500-8448-96303396512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676227" y="1677255"/>
            <a:ext cx="3316341" cy="2005229"/>
          </a:xfrm>
          <a:prstGeom prst="rect">
            <a:avLst/>
          </a:prstGeom>
        </p:spPr>
      </p:pic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15FB7FD6-2CC7-4307-BE94-2D554124A2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en MEP productie i.s.m. EAGR en GroundBreaking</a:t>
            </a:r>
          </a:p>
        </p:txBody>
      </p:sp>
      <p:sp>
        <p:nvSpPr>
          <p:cNvPr id="4" name="Ovaal 3">
            <a:extLst>
              <a:ext uri="{FF2B5EF4-FFF2-40B4-BE49-F238E27FC236}">
                <a16:creationId xmlns:a16="http://schemas.microsoft.com/office/drawing/2014/main" id="{9ACE34EF-4529-BE41-A9B2-DE115011B396}"/>
              </a:ext>
            </a:extLst>
          </p:cNvPr>
          <p:cNvSpPr/>
          <p:nvPr/>
        </p:nvSpPr>
        <p:spPr>
          <a:xfrm>
            <a:off x="9859865" y="4957011"/>
            <a:ext cx="2332136" cy="1539944"/>
          </a:xfrm>
          <a:prstGeom prst="ellipse">
            <a:avLst/>
          </a:prstGeom>
          <a:noFill/>
          <a:ln w="984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35" name="Afbeelding 34">
            <a:extLst>
              <a:ext uri="{FF2B5EF4-FFF2-40B4-BE49-F238E27FC236}">
                <a16:creationId xmlns:a16="http://schemas.microsoft.com/office/drawing/2014/main" id="{66432E27-E5C9-424A-8E18-E1507B5E7DF4}"/>
              </a:ext>
            </a:extLst>
          </p:cNvPr>
          <p:cNvPicPr>
            <a:picLocks noChangeAspect="1"/>
          </p:cNvPicPr>
          <p:nvPr/>
        </p:nvPicPr>
        <p:blipFill rotWithShape="1">
          <a:blip r:embed="rId17"/>
          <a:srcRect l="8970" r="11388"/>
          <a:stretch/>
        </p:blipFill>
        <p:spPr>
          <a:xfrm>
            <a:off x="6731564" y="3700661"/>
            <a:ext cx="1380658" cy="1056119"/>
          </a:xfrm>
          <a:prstGeom prst="rect">
            <a:avLst/>
          </a:prstGeom>
        </p:spPr>
      </p:pic>
      <p:pic>
        <p:nvPicPr>
          <p:cNvPr id="27" name="Picture 6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8911" y="3704642"/>
            <a:ext cx="1231760" cy="10561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2"/>
          <p:cNvPicPr>
            <a:picLocks noChangeAspect="1" noChangeArrowheads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81"/>
          <a:stretch/>
        </p:blipFill>
        <p:spPr bwMode="auto">
          <a:xfrm>
            <a:off x="8778748" y="3704641"/>
            <a:ext cx="1199038" cy="1056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3"/>
          <p:cNvPicPr>
            <a:picLocks noChangeAspect="1" noChangeArrowheads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6" r="8348"/>
          <a:stretch/>
        </p:blipFill>
        <p:spPr bwMode="auto">
          <a:xfrm>
            <a:off x="9840412" y="3704641"/>
            <a:ext cx="1092446" cy="1056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6904107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0" grpId="0"/>
      <p:bldP spid="34" grpId="0"/>
      <p:bldP spid="33" grpId="0"/>
      <p:bldP spid="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Kantoorth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th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Blank">
  <a:themeElements>
    <a:clrScheme name="TOYOTA">
      <a:dk1>
        <a:srgbClr val="808285"/>
      </a:dk1>
      <a:lt1>
        <a:sysClr val="window" lastClr="FFFFFF"/>
      </a:lt1>
      <a:dk2>
        <a:srgbClr val="2C2A29"/>
      </a:dk2>
      <a:lt2>
        <a:srgbClr val="F37934"/>
      </a:lt2>
      <a:accent1>
        <a:srgbClr val="C8102E"/>
      </a:accent1>
      <a:accent2>
        <a:srgbClr val="808285"/>
      </a:accent2>
      <a:accent3>
        <a:srgbClr val="426BBA"/>
      </a:accent3>
      <a:accent4>
        <a:srgbClr val="62C751"/>
      </a:accent4>
      <a:accent5>
        <a:srgbClr val="FAC51C"/>
      </a:accent5>
      <a:accent6>
        <a:srgbClr val="A38F84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9525">
          <a:solidFill>
            <a:schemeClr val="accent2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8000" indent="-288000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•"/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OYOTA PowerPoint Template.potx" id="{D5C932C4-C28F-4A18-B124-1CFF9D26AF7C}" vid="{15895572-C49F-4D92-83D6-1782D5766C7F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58</TotalTime>
  <Words>103</Words>
  <Application>Microsoft Macintosh PowerPoint</Application>
  <PresentationFormat>Breedbeeld</PresentationFormat>
  <Paragraphs>21</Paragraphs>
  <Slides>4</Slides>
  <Notes>1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7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4</vt:i4>
      </vt:variant>
    </vt:vector>
  </HeadingPairs>
  <TitlesOfParts>
    <vt:vector size="14" baseType="lpstr">
      <vt:lpstr>Arial</vt:lpstr>
      <vt:lpstr>Arial Black</vt:lpstr>
      <vt:lpstr>Calibri</vt:lpstr>
      <vt:lpstr>Calibri Light</vt:lpstr>
      <vt:lpstr>HelveticaNeueLT Std Lt Cn</vt:lpstr>
      <vt:lpstr>Times</vt:lpstr>
      <vt:lpstr>Wingdings 2</vt:lpstr>
      <vt:lpstr>Office Theme</vt:lpstr>
      <vt:lpstr>6_Blank</vt:lpstr>
      <vt:lpstr>think-cell Slide</vt:lpstr>
      <vt:lpstr>PowerPoint-presentatie</vt:lpstr>
      <vt:lpstr>PowerPoint-presentatie</vt:lpstr>
      <vt:lpstr>PowerPoint-presentatie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Willem Stehouwer</dc:creator>
  <cp:lastModifiedBy>Maud Stehouwer</cp:lastModifiedBy>
  <cp:revision>68</cp:revision>
  <dcterms:created xsi:type="dcterms:W3CDTF">2019-02-24T15:05:00Z</dcterms:created>
  <dcterms:modified xsi:type="dcterms:W3CDTF">2019-04-19T10:26:17Z</dcterms:modified>
</cp:coreProperties>
</file>